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1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45064197011155E-2"/>
          <c:y val="2.7125717266562335E-2"/>
          <c:w val="0.97810987160597773"/>
          <c:h val="0.945748565466875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F3-4A50-8376-2DAA8A8B369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4F3-4A50-8376-2DAA8A8B369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4F3-4A50-8376-2DAA8A8B369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4F3-4A50-8376-2DAA8A8B3698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4567</c:v>
                </c:pt>
                <c:pt idx="1">
                  <c:v>21440</c:v>
                </c:pt>
                <c:pt idx="2">
                  <c:v>49727</c:v>
                </c:pt>
                <c:pt idx="3">
                  <c:v>35048</c:v>
                </c:pt>
                <c:pt idx="4">
                  <c:v>35048</c:v>
                </c:pt>
                <c:pt idx="5">
                  <c:v>23313</c:v>
                </c:pt>
                <c:pt idx="6">
                  <c:v>23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F3-4A50-8376-2DAA8A8B3698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4F3-4A50-8376-2DAA8A8B369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4F3-4A50-8376-2DAA8A8B3698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16873</c:v>
                </c:pt>
                <c:pt idx="1">
                  <c:v>3454</c:v>
                </c:pt>
                <c:pt idx="3">
                  <c:v>6785</c:v>
                </c:pt>
                <c:pt idx="5">
                  <c:v>5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4F3-4A50-8376-2DAA8A8B3698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B4F3-4A50-8376-2DAA8A8B3698}"/>
              </c:ext>
            </c:extLst>
          </c:dPt>
          <c:val>
            <c:numRef>
              <c:f>Sheet1!$A$3:$G$3</c:f>
              <c:numCache>
                <c:formatCode>General</c:formatCode>
                <c:ptCount val="7"/>
                <c:pt idx="1">
                  <c:v>24833</c:v>
                </c:pt>
                <c:pt idx="3">
                  <c:v>7894</c:v>
                </c:pt>
                <c:pt idx="5">
                  <c:v>6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4F3-4A50-8376-2DAA8A8B3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3659407"/>
        <c:axId val="1"/>
      </c:barChart>
      <c:catAx>
        <c:axId val="983659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983659407"/>
        <c:crosses val="min"/>
        <c:crossBetween val="between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F49F9-BD45-47F2-9AAB-3AC8C5BB7A49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C5BE61-1307-4AF1-AEAD-D8F9F467888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38716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566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83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2878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5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93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685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4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9928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oleObject" Target="../embeddings/oleObject5.bin"/><Relationship Id="rId5" Type="http://schemas.openxmlformats.org/officeDocument/2006/relationships/tags" Target="../tags/tag8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slideLayout" Target="../slideLayouts/slideLayout5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image" Target="../media/image4.emf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notesSlide" Target="../notesSlides/notesSlide1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8" imgW="349" imgH="350" progId="TCLayout.ActiveDocument.1">
                  <p:embed/>
                </p:oleObj>
              </mc:Choice>
              <mc:Fallback>
                <p:oleObj name="think-cell 幻灯片" r:id="rId5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spc="-30" dirty="0"/>
              <a:t>{title}</a:t>
            </a:r>
            <a:endParaRPr lang="en-US" dirty="0"/>
          </a:p>
        </p:txBody>
      </p:sp>
      <p:cxnSp>
        <p:nvCxnSpPr>
          <p:cNvPr id="2" name="Straight Connector 9">
            <a:extLst>
              <a:ext uri="{FF2B5EF4-FFF2-40B4-BE49-F238E27FC236}">
                <a16:creationId xmlns:a16="http://schemas.microsoft.com/office/drawing/2014/main" id="{4671867A-F2A9-9BAE-28D3-61B9F378919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2649538" y="2314575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9AAEF18E-5405-0DB8-0E37-986E37DD117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1595438" y="3943350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22">
            <a:extLst>
              <a:ext uri="{FF2B5EF4-FFF2-40B4-BE49-F238E27FC236}">
                <a16:creationId xmlns:a16="http://schemas.microsoft.com/office/drawing/2014/main" id="{35BF65CE-9095-C0BA-379A-A0790C03100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864350" y="3835400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147">
            <a:extLst>
              <a:ext uri="{FF2B5EF4-FFF2-40B4-BE49-F238E27FC236}">
                <a16:creationId xmlns:a16="http://schemas.microsoft.com/office/drawing/2014/main" id="{5C483F4E-F639-201B-4BE6-46BB68A31CF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5810250" y="3159125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21">
            <a:extLst>
              <a:ext uri="{FF2B5EF4-FFF2-40B4-BE49-F238E27FC236}">
                <a16:creationId xmlns:a16="http://schemas.microsoft.com/office/drawing/2014/main" id="{497A6FFE-F1E7-A613-0277-19B550EE41F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4757738" y="3159125"/>
            <a:ext cx="4667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19">
            <a:extLst>
              <a:ext uri="{FF2B5EF4-FFF2-40B4-BE49-F238E27FC236}">
                <a16:creationId xmlns:a16="http://schemas.microsoft.com/office/drawing/2014/main" id="{384EAB23-E082-E5E1-AC69-F8BE070E378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3703638" y="2314575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0F5EBCC3-0F1D-4DB6-824E-7F9DD1475DFB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693738" y="2216150"/>
          <a:ext cx="7542212" cy="3043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4" name="Rectangle 128">
            <a:extLst>
              <a:ext uri="{FF2B5EF4-FFF2-40B4-BE49-F238E27FC236}">
                <a16:creationId xmlns:a16="http://schemas.microsoft.com/office/drawing/2014/main" id="{FF95EF2E-0CE3-90A1-A7CA-F2753D6F62D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84187" y="5086350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CA973A-EF4E-408A-9642-B3CE2FD68264}" type="datetime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Rectangle 129">
            <a:extLst>
              <a:ext uri="{FF2B5EF4-FFF2-40B4-BE49-F238E27FC236}">
                <a16:creationId xmlns:a16="http://schemas.microsoft.com/office/drawing/2014/main" id="{046C7D81-AA5E-5358-E3D1-ECA112A74B5E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87363" y="4799013"/>
            <a:ext cx="112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5BD331-34AE-495C-9C5D-8874520937A7}" type="datetime'''''''''''''''''''''''''''''''''''5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tangle 130">
            <a:extLst>
              <a:ext uri="{FF2B5EF4-FFF2-40B4-BE49-F238E27FC236}">
                <a16:creationId xmlns:a16="http://schemas.microsoft.com/office/drawing/2014/main" id="{430F4499-24D6-99D9-25B3-F7F773F44EE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09575" y="4510088"/>
            <a:ext cx="1905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981626-8752-4976-BE93-442091180243}" type="datetime'''1'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Rectangle 131">
            <a:extLst>
              <a:ext uri="{FF2B5EF4-FFF2-40B4-BE49-F238E27FC236}">
                <a16:creationId xmlns:a16="http://schemas.microsoft.com/office/drawing/2014/main" id="{FECC346F-E78C-20F0-22B2-2FBAAF663D0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412751" y="4222750"/>
            <a:ext cx="1873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72E988-9EBF-4CF4-8D70-39BF587138A7}" type="datetime'''''''''''1''5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Rectangle 132">
            <a:extLst>
              <a:ext uri="{FF2B5EF4-FFF2-40B4-BE49-F238E27FC236}">
                <a16:creationId xmlns:a16="http://schemas.microsoft.com/office/drawing/2014/main" id="{8D0CBE24-E893-908C-9C44-095E924BF4D6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73063" y="3935413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A48ABF3-A287-404B-9E73-018385758F23}" type="datetime'''''''''''''2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Rectangle 134">
            <a:extLst>
              <a:ext uri="{FF2B5EF4-FFF2-40B4-BE49-F238E27FC236}">
                <a16:creationId xmlns:a16="http://schemas.microsoft.com/office/drawing/2014/main" id="{AB507A8B-A6C0-1770-CD9A-7A801B7A9C7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74650" y="3359150"/>
            <a:ext cx="2254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8C24F3-2A34-4894-9DBF-DAC5F8D3822D}" type="datetime'3''''''''0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tangle 135">
            <a:extLst>
              <a:ext uri="{FF2B5EF4-FFF2-40B4-BE49-F238E27FC236}">
                <a16:creationId xmlns:a16="http://schemas.microsoft.com/office/drawing/2014/main" id="{AC278B8C-9C56-B9CF-720F-1CED5AA59D0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77825" y="3071813"/>
            <a:ext cx="2222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59D2DC-242E-4733-80EE-75F4D5D54C5C}" type="datetime'''''''''''''''''''''''''''''''''3''''''''''5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Rectangle 136">
            <a:extLst>
              <a:ext uri="{FF2B5EF4-FFF2-40B4-BE49-F238E27FC236}">
                <a16:creationId xmlns:a16="http://schemas.microsoft.com/office/drawing/2014/main" id="{9614511C-233E-58E1-F0F5-33D76707D17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69888" y="2784475"/>
            <a:ext cx="2301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6A8090-5F55-4F4E-A091-E13DFB45F67B}" type="datetime'''''''''''''40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Rectangle 137">
            <a:extLst>
              <a:ext uri="{FF2B5EF4-FFF2-40B4-BE49-F238E27FC236}">
                <a16:creationId xmlns:a16="http://schemas.microsoft.com/office/drawing/2014/main" id="{CE43C029-A88D-CDB8-6A29-9E347718DAE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73063" y="2495550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9287D2-BDA7-4EC3-ABFA-B12D59B18999}" type="datetime'''''''45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Rectangle 39">
            <a:extLst>
              <a:ext uri="{FF2B5EF4-FFF2-40B4-BE49-F238E27FC236}">
                <a16:creationId xmlns:a16="http://schemas.microsoft.com/office/drawing/2014/main" id="{215474CC-5E8B-6B92-0722-BE15DDDFADB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71475" y="2208213"/>
            <a:ext cx="2286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B4AA7B-152E-462C-9D54-6B0B09EF6BD7}" type="datetime'''''''''5''''''''''''''''''''''''''''''''''0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Rectangle 133">
            <a:extLst>
              <a:ext uri="{FF2B5EF4-FFF2-40B4-BE49-F238E27FC236}">
                <a16:creationId xmlns:a16="http://schemas.microsoft.com/office/drawing/2014/main" id="{5D996CEF-F5A2-9E93-C895-88D2B8175E7A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76238" y="3648075"/>
            <a:ext cx="2238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142A52-E21E-4BC1-B233-30C263803D2D}" type="datetime'''''''2''5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2AB0AC1-BC66-8115-FC17-1EF7BEAA15B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4757738" y="2314575"/>
            <a:ext cx="276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B14217C-6C6C-DD11-D653-D76804463AB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4991100" y="2311400"/>
            <a:ext cx="0" cy="8509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 140">
            <a:extLst>
              <a:ext uri="{FF2B5EF4-FFF2-40B4-BE49-F238E27FC236}">
                <a16:creationId xmlns:a16="http://schemas.microsoft.com/office/drawing/2014/main" id="{4718579C-F69C-5E7B-63B2-AB38AA9A9A4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71475" y="1852613"/>
            <a:ext cx="28051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venues, costs, totals [USD b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21FFB6BA-92F1-EA43-7327-57CC7247F60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190625" y="4332288"/>
            <a:ext cx="2222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BF989F-125C-4C21-815D-E949D7664F38}" type="datetime'''''''''''''''''''''''''''''1''''''''''''''''7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Rectangle 35">
            <a:extLst>
              <a:ext uri="{FF2B5EF4-FFF2-40B4-BE49-F238E27FC236}">
                <a16:creationId xmlns:a16="http://schemas.microsoft.com/office/drawing/2014/main" id="{AE10CC92-DFF0-840A-0051-8D961F476089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220788" y="4949825"/>
            <a:ext cx="1635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335F07A-55D1-4E28-A711-D7F9107430AF}" type="datetime'''5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Rectangle 45">
            <a:extLst>
              <a:ext uri="{FF2B5EF4-FFF2-40B4-BE49-F238E27FC236}">
                <a16:creationId xmlns:a16="http://schemas.microsoft.com/office/drawing/2014/main" id="{28D79A6C-B12C-FC6C-1EB5-11997C9F9799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117600" y="5235575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Rectangle 141">
            <a:extLst>
              <a:ext uri="{FF2B5EF4-FFF2-40B4-BE49-F238E27FC236}">
                <a16:creationId xmlns:a16="http://schemas.microsoft.com/office/drawing/2014/main" id="{1349BB7B-FD98-1512-DC12-E9B263A1925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489700" y="3248025"/>
            <a:ext cx="1619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8A3AEF-58CC-4BB3-899B-B4EEB75FD786}" type="datetime'''''''''''''''''''''''''''''''''''''''''''''''''6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Rectangle 38">
            <a:extLst>
              <a:ext uri="{FF2B5EF4-FFF2-40B4-BE49-F238E27FC236}">
                <a16:creationId xmlns:a16="http://schemas.microsoft.com/office/drawing/2014/main" id="{BDF3CD34-44E0-F9CC-5489-578E4789792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6489700" y="3586163"/>
            <a:ext cx="1635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434F90D-73EC-4BB8-ABD9-5E03FFF16572}" type="datetime'''''5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Rectangle 149">
            <a:extLst>
              <a:ext uri="{FF2B5EF4-FFF2-40B4-BE49-F238E27FC236}">
                <a16:creationId xmlns:a16="http://schemas.microsoft.com/office/drawing/2014/main" id="{3C999B6B-7311-CF23-E306-DD2913F24CC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310313" y="5235575"/>
            <a:ext cx="5207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5" name="Rectangle 50">
            <a:extLst>
              <a:ext uri="{FF2B5EF4-FFF2-40B4-BE49-F238E27FC236}">
                <a16:creationId xmlns:a16="http://schemas.microsoft.com/office/drawing/2014/main" id="{9A379318-DAC2-E3E7-AF0B-67007CC5B39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7418388" y="5235575"/>
            <a:ext cx="4127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7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1" name="Rectangle 48">
            <a:extLst>
              <a:ext uri="{FF2B5EF4-FFF2-40B4-BE49-F238E27FC236}">
                <a16:creationId xmlns:a16="http://schemas.microsoft.com/office/drawing/2014/main" id="{44B63EB3-F3B2-656B-D064-713CC8B5CC24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192588" y="5235575"/>
            <a:ext cx="5445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230CAC79-A5B1-BACC-152C-BD1BAAB086D2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391025" y="2868613"/>
            <a:ext cx="1476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69B96F-C366-4CA4-8ACF-F4471164B597}" type="datetime'''''''''''''''''''''''''''''''''''''''''''''''7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Rectangle 16">
            <a:extLst>
              <a:ext uri="{FF2B5EF4-FFF2-40B4-BE49-F238E27FC236}">
                <a16:creationId xmlns:a16="http://schemas.microsoft.com/office/drawing/2014/main" id="{F5B9F528-D24F-E199-D777-8C5BDBBE2E96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381499" y="2446338"/>
            <a:ext cx="1651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30A982-580D-4194-A7EA-708D676647AC}" type="datetime'''''''''''''''''8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Rectangle 47">
            <a:extLst>
              <a:ext uri="{FF2B5EF4-FFF2-40B4-BE49-F238E27FC236}">
                <a16:creationId xmlns:a16="http://schemas.microsoft.com/office/drawing/2014/main" id="{19396F30-D04E-AAE0-BEF9-7FDBF515E63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033713" y="5235575"/>
            <a:ext cx="7524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27" name="Rectangle 46">
            <a:extLst>
              <a:ext uri="{FF2B5EF4-FFF2-40B4-BE49-F238E27FC236}">
                <a16:creationId xmlns:a16="http://schemas.microsoft.com/office/drawing/2014/main" id="{F186C917-184A-6E05-D6BC-87B91D2D9C4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166938" y="5235575"/>
            <a:ext cx="3778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5" name="Rectangle 41">
            <a:extLst>
              <a:ext uri="{FF2B5EF4-FFF2-40B4-BE49-F238E27FC236}">
                <a16:creationId xmlns:a16="http://schemas.microsoft.com/office/drawing/2014/main" id="{F0857BD4-A2DD-A07D-D7BD-52BEFD972FC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276474" y="3748088"/>
            <a:ext cx="1603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668CB0-A3E9-4B60-93D2-EF893697D4E2}" type="datetime'''''''''''''''''''''''''''''''''3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Rectangle 53">
            <a:extLst>
              <a:ext uri="{FF2B5EF4-FFF2-40B4-BE49-F238E27FC236}">
                <a16:creationId xmlns:a16="http://schemas.microsoft.com/office/drawing/2014/main" id="{6D79EB61-4284-8AE0-8AD1-3C6DC3FBDFA8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184275" y="3725863"/>
            <a:ext cx="2365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4378F1D-E467-4613-A917-AA7B637F9176}" type="datetime'''''''''''''2''''''''''''''1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Rectangle 54">
            <a:extLst>
              <a:ext uri="{FF2B5EF4-FFF2-40B4-BE49-F238E27FC236}">
                <a16:creationId xmlns:a16="http://schemas.microsoft.com/office/drawing/2014/main" id="{BC5C7A88-7278-0E05-BF24-3CBF9BF2AEA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2217738" y="2097088"/>
            <a:ext cx="276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2EE1B8B-8644-4B99-A619-738F7089143F}" type="datetime'''''''2''''''''''''''8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Rectangle 49">
            <a:extLst>
              <a:ext uri="{FF2B5EF4-FFF2-40B4-BE49-F238E27FC236}">
                <a16:creationId xmlns:a16="http://schemas.microsoft.com/office/drawing/2014/main" id="{412DA6D2-82C0-3C3E-622F-B8BE1042D94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5207000" y="5235575"/>
            <a:ext cx="6191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2" name="Rectangle 61">
            <a:extLst>
              <a:ext uri="{FF2B5EF4-FFF2-40B4-BE49-F238E27FC236}">
                <a16:creationId xmlns:a16="http://schemas.microsoft.com/office/drawing/2014/main" id="{CE2C4B56-D3E2-3AAA-57EB-5BC67290EDF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300538" y="3184525"/>
            <a:ext cx="3270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05F302-6AA2-4A94-B7A0-96016A03208D}" type="datetime'''-''''''''''''''''15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Rectangle 62">
            <a:extLst>
              <a:ext uri="{FF2B5EF4-FFF2-40B4-BE49-F238E27FC236}">
                <a16:creationId xmlns:a16="http://schemas.microsoft.com/office/drawing/2014/main" id="{9E1FF824-FFC0-19E8-7A45-C11E829FA3E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380038" y="2941638"/>
            <a:ext cx="2730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0B0BD7-66DE-41AF-991F-40E59657B32B}" type="datetime'''''''''3''''''''''''''''''''''''''''''''''''''''''''''5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Rectangle 12">
            <a:extLst>
              <a:ext uri="{FF2B5EF4-FFF2-40B4-BE49-F238E27FC236}">
                <a16:creationId xmlns:a16="http://schemas.microsoft.com/office/drawing/2014/main" id="{835BF584-5AC8-36A6-2117-51456822BA13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408738" y="3860800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564825-E856-4C28-AC03-AF0B086C743F}" type="datetime'''''''''''''''-''''1''2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1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Rectangle 127">
            <a:extLst>
              <a:ext uri="{FF2B5EF4-FFF2-40B4-BE49-F238E27FC236}">
                <a16:creationId xmlns:a16="http://schemas.microsoft.com/office/drawing/2014/main" id="{1816DB6E-02FE-B949-D010-E11601D2366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7489825" y="3617913"/>
            <a:ext cx="2714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4CD4F6-191C-486A-9476-3D082888A6B1}" type="datetime'''''''''''''2''''''''''''3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C627A34-02A8-BB5B-FD91-7AEDF344805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270250" y="2097088"/>
            <a:ext cx="2794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2EC6D0-E53A-4762-9C99-BFD9610983B4}" type="datetime'''''''''''''5''''''''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5081587" y="2586038"/>
            <a:ext cx="67945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ap_number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Rectangle 6">
            <a:extLst>
              <a:ext uri="{FF2B5EF4-FFF2-40B4-BE49-F238E27FC236}">
                <a16:creationId xmlns:a16="http://schemas.microsoft.com/office/drawing/2014/main" id="{DE8DDA57-B0D1-557D-F3CB-B0DFA54D6DF2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82863" y="57753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BB3EEC37-2AE6-CA9D-F68F-0AF394D7727C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3319463" y="5775325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248F1E76-1C2D-CC39-AF03-510CF15AA7EF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4092575" y="57753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Rectangle 23">
            <a:extLst>
              <a:ext uri="{FF2B5EF4-FFF2-40B4-BE49-F238E27FC236}">
                <a16:creationId xmlns:a16="http://schemas.microsoft.com/office/drawing/2014/main" id="{4BD0CFC4-E2E6-1DBC-9441-A2B504869704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037138" y="57753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24">
            <a:extLst>
              <a:ext uri="{FF2B5EF4-FFF2-40B4-BE49-F238E27FC236}">
                <a16:creationId xmlns:a16="http://schemas.microsoft.com/office/drawing/2014/main" id="{FAFCA6DC-1A0E-FC4D-AD13-3D360F0FC82E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773738" y="5775325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Rectangle 1">
            <a:extLst>
              <a:ext uri="{FF2B5EF4-FFF2-40B4-BE49-F238E27FC236}">
                <a16:creationId xmlns:a16="http://schemas.microsoft.com/office/drawing/2014/main" id="{43F88573-7136-B57B-D320-B85721E38AD5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2884488" y="5770563"/>
            <a:ext cx="333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4" name="Rectangle 26">
            <a:extLst>
              <a:ext uri="{FF2B5EF4-FFF2-40B4-BE49-F238E27FC236}">
                <a16:creationId xmlns:a16="http://schemas.microsoft.com/office/drawing/2014/main" id="{DE2B3C3E-29CB-E66C-E724-B0CB6C17A43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3621087" y="5770563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43EFEC97-2CD5-69DA-28A0-60710939D89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394200" y="5770563"/>
            <a:ext cx="5413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56" name="Rectangle 11">
            <a:extLst>
              <a:ext uri="{FF2B5EF4-FFF2-40B4-BE49-F238E27FC236}">
                <a16:creationId xmlns:a16="http://schemas.microsoft.com/office/drawing/2014/main" id="{904AB192-6C20-1F4A-D24B-7D9904E809B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338763" y="5770563"/>
            <a:ext cx="333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53" name="Rectangle 13">
            <a:extLst>
              <a:ext uri="{FF2B5EF4-FFF2-40B4-BE49-F238E27FC236}">
                <a16:creationId xmlns:a16="http://schemas.microsoft.com/office/drawing/2014/main" id="{AC256553-94CB-D433-4427-765913A58206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6075362" y="5770563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F364995-E5DC-0A5D-334E-FE8DE9909EC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614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comment</a:t>
            </a:r>
          </a:p>
        </p:txBody>
      </p:sp>
      <p:sp>
        <p:nvSpPr>
          <p:cNvPr id="70" name="Rechteck 137">
            <a:extLst>
              <a:ext uri="{FF2B5EF4-FFF2-40B4-BE49-F238E27FC236}">
                <a16:creationId xmlns:a16="http://schemas.microsoft.com/office/drawing/2014/main" id="{19F53A14-24BF-EF15-C0D7-0591C62366BA}"/>
              </a:ext>
            </a:extLst>
          </p:cNvPr>
          <p:cNvSpPr>
            <a:spLocks/>
          </p:cNvSpPr>
          <p:nvPr/>
        </p:nvSpPr>
        <p:spPr>
          <a:xfrm>
            <a:off x="8454706" y="1852613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conten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71" name="tc_columnheader">
            <a:extLst>
              <a:ext uri="{FF2B5EF4-FFF2-40B4-BE49-F238E27FC236}">
                <a16:creationId xmlns:a16="http://schemas.microsoft.com/office/drawing/2014/main" id="{4683CD60-475D-17BF-2BAE-DCD093397EEB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2" name="tc_columnhead">
              <a:extLst>
                <a:ext uri="{FF2B5EF4-FFF2-40B4-BE49-F238E27FC236}">
                  <a16:creationId xmlns:a16="http://schemas.microsoft.com/office/drawing/2014/main" id="{4A298023-C220-7F96-F1F3-CA1C8120C5F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chart_title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74" name="tc_columnheadline">
              <a:extLst>
                <a:ext uri="{FF2B5EF4-FFF2-40B4-BE49-F238E27FC236}">
                  <a16:creationId xmlns:a16="http://schemas.microsoft.com/office/drawing/2014/main" id="{06D11850-45A4-1DF7-D748-C6623EF6D87A}"/>
                </a:ext>
              </a:extLst>
            </p:cNvPr>
            <p:cNvCxnSpPr>
              <a:cxnSpLocks/>
              <a:stCxn id="72" idx="4"/>
              <a:endCxn id="72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8" name="tc_columnheadline">
            <a:extLst>
              <a:ext uri="{FF2B5EF4-FFF2-40B4-BE49-F238E27FC236}">
                <a16:creationId xmlns:a16="http://schemas.microsoft.com/office/drawing/2014/main" id="{34C8D12E-CE8A-33F6-816A-CFF30DB55DA4}"/>
              </a:ext>
            </a:extLst>
          </p:cNvPr>
          <p:cNvCxnSpPr>
            <a:cxnSpLocks/>
          </p:cNvCxnSpPr>
          <p:nvPr/>
        </p:nvCxnSpPr>
        <p:spPr>
          <a:xfrm>
            <a:off x="8454707" y="1809133"/>
            <a:ext cx="336581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8">
            <a:extLst>
              <a:ext uri="{FF2B5EF4-FFF2-40B4-BE49-F238E27FC236}">
                <a16:creationId xmlns:a16="http://schemas.microsoft.com/office/drawing/2014/main" id="{31347C90-13BE-6C35-C34D-AF48CAD25B66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AD02BEB-FD64-4776-A11B-66CF8236541F}"/>
              </a:ext>
            </a:extLst>
          </p:cNvPr>
          <p:cNvSpPr txBox="1"/>
          <p:nvPr/>
        </p:nvSpPr>
        <p:spPr>
          <a:xfrm>
            <a:off x="3484246" y="3766866"/>
            <a:ext cx="1944689" cy="4466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数字</a:t>
            </a:r>
          </a:p>
        </p:txBody>
      </p:sp>
    </p:spTree>
    <p:extLst>
      <p:ext uri="{BB962C8B-B14F-4D97-AF65-F5344CB8AC3E}">
        <p14:creationId xmlns:p14="http://schemas.microsoft.com/office/powerpoint/2010/main" val="76988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BgtFqqL2xJjBqprWxu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IDPGrPn.crqF4Z6hi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iP_Dh_An8C2NE9D3Mg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0w4Z9vr2s.0lZQZ_GE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b.vPiW7h2hbLtQlDlj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Jnq3E4m5kVoMvopzM2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QOXWDyv5ODh_IKbgo0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iuU371biU1om4f3v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DyYgVe0gGRTdxaUMb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DzXAoN8n8p6pNd4Xa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uMJwT.GCPfoB0T5cdV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95qNoag629EDluOif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BhbCMKbUj36jD.zc21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7VWsRYOLVYIjMq4Hl5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W_LOukGx0tUMB3HBBa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7oQ_gMkTcdifrxsXkG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8vIJMYXVhZqTgv6XDm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tnjGsnQnSjoOnmkFCL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EOXTDnpb5J0MTjdeNS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vCPEbnWzwFIDV_NTA_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TYmKy8tJCi_jm0Hry6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47KqCHgLbh.fa6y7iI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nomO0HQgc8jDSuWa.k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f5fEJYxiIINRw1ZW3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HWfJP2pSnqWSq_MrL6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okgBRFjJ_3Ng6jTfSv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3H3liDsN2isLDJ.RtR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DW5d3KhvAQnno7hldl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u66j0WziGWWKpUPWRK7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DM0MG3g5He8ATWYJN7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3HK_8OXuiXGF8DoGb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BYM16LaAcLQ9qf12Nm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NEnWKMaLio1zI_p8Z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v1whwZ8CO2Y2a13CG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O2uaVKgFSe9tgHvjil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dIbe_BuOqCkKnK.rDB2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eAZrzytqAnkF8Nlt7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e2xeaDXyvem8v96OAK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O2orA7kKTE1P6UY1wC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P2ubAAwA0yQYIJxUR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68rGO7qyRf5g2kLd2K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brmvgTxRJWXfB.LxKA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6wRQFHUYghDdKpDUyg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423bqR9EsAfpRa57fg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cUv_h.8VNA.mYUgjmu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qkKF5UjCNHBb0e8THb1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FAXKwBSi8bHpk2rLn9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UJKywRWJaIYKsucm7z5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XXYjd_DTWPTrz0enQm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htetR8p0xHUzYFleud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tlO6h8XATfUvn0GMh0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hi0OhuoPFljnp0Xrh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8mI972TPTZRXnH64_Rg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02</Words>
  <Application>Microsoft Office PowerPoint</Application>
  <PresentationFormat>宽屏</PresentationFormat>
  <Paragraphs>4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9T03:34:04Z</dcterms:created>
  <dcterms:modified xsi:type="dcterms:W3CDTF">2025-09-09T03:36:57Z</dcterms:modified>
</cp:coreProperties>
</file>